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888" r:id="rId1"/>
    <p:sldMasterId id="2147483788" r:id="rId2"/>
    <p:sldMasterId id="2147483808" r:id="rId3"/>
    <p:sldMasterId id="2147483828" r:id="rId4"/>
    <p:sldMasterId id="2147483848" r:id="rId5"/>
    <p:sldMasterId id="2147483868" r:id="rId6"/>
  </p:sldMasterIdLst>
  <p:sldIdLst>
    <p:sldId id="263" r:id="rId7"/>
    <p:sldId id="264" r:id="rId8"/>
    <p:sldId id="259" r:id="rId9"/>
    <p:sldId id="260" r:id="rId10"/>
    <p:sldId id="261" r:id="rId11"/>
    <p:sldId id="262" r:id="rId12"/>
  </p:sldIdLst>
  <p:sldSz cx="12192000" cy="6858000"/>
  <p:notesSz cx="6858000" cy="9144000"/>
  <p:embeddedFontLst>
    <p:embeddedFont>
      <p:font typeface="Credit Suisse Headline" panose="020B0504030101020102" pitchFamily="34" charset="0"/>
      <p:regular r:id="rId13"/>
      <p:bold r:id="rId14"/>
    </p:embeddedFont>
    <p:embeddedFont>
      <p:font typeface="Credit Suisse Type Light" panose="020B0303040503020204" pitchFamily="34" charset="0"/>
      <p:regular r:id="rId15"/>
      <p:bold r:id="rId16"/>
      <p:italic r:id="rId17"/>
    </p:embeddedFont>
    <p:embeddedFont>
      <p:font typeface="Credit Suisse Type Roman" panose="020B0503040503020204" pitchFamily="34" charset="0"/>
      <p:regular r:id="rId18"/>
      <p:bold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>
          <p15:clr>
            <a:srgbClr val="A4A3A4"/>
          </p15:clr>
        </p15:guide>
        <p15:guide id="2" pos="3908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3772">
          <p15:clr>
            <a:srgbClr val="A4A3A4"/>
          </p15:clr>
        </p15:guide>
        <p15:guide id="5" pos="143">
          <p15:clr>
            <a:srgbClr val="A4A3A4"/>
          </p15:clr>
        </p15:guide>
        <p15:guide id="6" pos="75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5" autoAdjust="0"/>
    <p:restoredTop sz="94660"/>
  </p:normalViewPr>
  <p:slideViewPr>
    <p:cSldViewPr snapToGrid="0" showGuides="1">
      <p:cViewPr varScale="1">
        <p:scale>
          <a:sx n="61" d="100"/>
          <a:sy n="61" d="100"/>
        </p:scale>
        <p:origin x="876" y="78"/>
      </p:cViewPr>
      <p:guideLst>
        <p:guide orient="horz" pos="1049"/>
        <p:guide pos="3908"/>
        <p:guide orient="horz" pos="3793"/>
        <p:guide pos="3772"/>
        <p:guide pos="143"/>
        <p:guide pos="75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font" Target="fonts/font7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8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499629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5552921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2016882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0963455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85277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15560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833441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8450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18458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8534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74844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188935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92364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2849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052019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630178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57277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689067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39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96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948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73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60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885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066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7480283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928575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27649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335865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833849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025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705428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6820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34365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7255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640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5566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35302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471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030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57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90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771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3367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11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62852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8171581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2298599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038575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96866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235452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6275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46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26614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14279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79565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28225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792049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9220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514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64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468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744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63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8968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8204844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76626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5722879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7734700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5820308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5405853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2867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59029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7010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5053629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52467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8115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6157700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6657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256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150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91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1888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324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93138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1957064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7034101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393857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5797463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1689403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509085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7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23060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034350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182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3223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1057768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0412402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1484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021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376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74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7638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8054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3430860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1959393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99541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E1436D9-F116-4999-A3D1-5B0370FA0AE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0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9336D1-6240-46E7-B41F-177ADDB84C15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0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AD74332-785E-49F7-98CE-7FADBC26F898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59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465DAC8-9454-48BD-BD01-EB5E830D39E7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84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EF6379C-C1FC-42B1-ADE5-D6DAFF801AB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0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171BEA-EABC-4CD6-89E3-DA4C43C5729A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96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05882-0846-4F98-8728-91BBF8E38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972" y="1976281"/>
            <a:ext cx="10086056" cy="588623"/>
          </a:xfrm>
        </p:spPr>
        <p:txBody>
          <a:bodyPr/>
          <a:lstStyle/>
          <a:p>
            <a:r>
              <a:rPr lang="en-IN" dirty="0"/>
              <a:t>Automatic Minutes of Meeting -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54735-F86C-4D93-971F-8945F45197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972" y="2564904"/>
            <a:ext cx="7560000" cy="3453253"/>
          </a:xfrm>
        </p:spPr>
        <p:txBody>
          <a:bodyPr/>
          <a:lstStyle/>
          <a:p>
            <a:endParaRPr lang="en-IN" dirty="0"/>
          </a:p>
          <a:p>
            <a:r>
              <a:rPr lang="en-IN" sz="3200" dirty="0"/>
              <a:t>- Presented by Team COMBATS</a:t>
            </a:r>
          </a:p>
          <a:p>
            <a:endParaRPr lang="en-IN" sz="3200" dirty="0"/>
          </a:p>
          <a:p>
            <a:r>
              <a:rPr lang="en-IN" sz="3200" dirty="0"/>
              <a:t>		- Vikas Wadhwani</a:t>
            </a:r>
          </a:p>
          <a:p>
            <a:r>
              <a:rPr lang="en-IN" sz="3200" dirty="0"/>
              <a:t>		- Priyanka Agrawal</a:t>
            </a:r>
          </a:p>
          <a:p>
            <a:r>
              <a:rPr lang="en-IN" sz="3200" dirty="0"/>
              <a:t>		- Aman Chauhan</a:t>
            </a:r>
          </a:p>
          <a:p>
            <a:r>
              <a:rPr lang="en-IN" sz="3200" dirty="0"/>
              <a:t>		- Yogesh Gawari</a:t>
            </a:r>
          </a:p>
          <a:p>
            <a:r>
              <a:rPr lang="en-IN" sz="3200" dirty="0"/>
              <a:t>		- Rupesh Thopate (QA)</a:t>
            </a:r>
            <a:endParaRPr lang="en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9D4CDC-E173-4E6E-99C5-D5D1997FE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628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FE65E0-C4D1-3BE1-91E8-93055442E3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FB8B9C-B113-F882-4C14-7DCC7382D8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2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6D980A-6F46-CC5F-8D08-5123F6BB6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9927" y="164020"/>
            <a:ext cx="4028571" cy="3852967"/>
          </a:xfrm>
          <a:prstGeom prst="rect">
            <a:avLst/>
          </a:prstGeom>
        </p:spPr>
      </p:pic>
      <p:sp>
        <p:nvSpPr>
          <p:cNvPr id="9" name="Arrow: Striped Right 8">
            <a:extLst>
              <a:ext uri="{FF2B5EF4-FFF2-40B4-BE49-F238E27FC236}">
                <a16:creationId xmlns:a16="http://schemas.microsoft.com/office/drawing/2014/main" id="{524A19E3-4165-BBB1-905A-DB2B2491014D}"/>
              </a:ext>
            </a:extLst>
          </p:cNvPr>
          <p:cNvSpPr/>
          <p:nvPr/>
        </p:nvSpPr>
        <p:spPr>
          <a:xfrm>
            <a:off x="5212080" y="1650512"/>
            <a:ext cx="1987613" cy="1371600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IN" sz="1600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5DBEBA-831A-B92B-D65F-1AC0D55E2C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422" y="193437"/>
            <a:ext cx="3425104" cy="38235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60CE834-D38F-59F9-599B-FDA0812AF107}"/>
              </a:ext>
            </a:extLst>
          </p:cNvPr>
          <p:cNvSpPr txBox="1"/>
          <p:nvPr/>
        </p:nvSpPr>
        <p:spPr>
          <a:xfrm>
            <a:off x="227347" y="4079240"/>
            <a:ext cx="60960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Diverted fo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</a:t>
            </a:r>
            <a:r>
              <a:rPr lang="en-US" b="0" dirty="0"/>
              <a:t>miss on important points, 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fforts and Time Consu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imely need to send mail to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ompletely dependent on understanding of an individual preparing minu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8B7927-EC5B-7E02-52DF-1B0490BAA90F}"/>
              </a:ext>
            </a:extLst>
          </p:cNvPr>
          <p:cNvSpPr txBox="1"/>
          <p:nvPr/>
        </p:nvSpPr>
        <p:spPr>
          <a:xfrm>
            <a:off x="6556212" y="4079240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Decodes speech into meaningful summ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S</a:t>
            </a:r>
            <a:r>
              <a:rPr lang="en-IN" dirty="0"/>
              <a:t>mart minutes with easy access to recordings</a:t>
            </a: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Well formatted </a:t>
            </a:r>
            <a:r>
              <a:rPr lang="en-IN" dirty="0"/>
              <a:t>pdf auto sent over </a:t>
            </a:r>
            <a:r>
              <a:rPr lang="en-IN" b="0" dirty="0"/>
              <a:t>ema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aves time and effort of team me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creases Productivity</a:t>
            </a:r>
            <a:endParaRPr lang="en-IN" b="0" dirty="0"/>
          </a:p>
        </p:txBody>
      </p:sp>
    </p:spTree>
    <p:extLst>
      <p:ext uri="{BB962C8B-B14F-4D97-AF65-F5344CB8AC3E}">
        <p14:creationId xmlns:p14="http://schemas.microsoft.com/office/powerpoint/2010/main" val="3272033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827D1-0F70-492F-AA92-B22393A9E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chnology Stack used for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338750-3AB3-4541-A2F8-A118B75199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3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895BE7-FF8F-4155-9931-F63D34A84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763" y="1360405"/>
            <a:ext cx="3591426" cy="8192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6D589B-ED1C-4DDD-A47E-4092563EA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63" y="2393612"/>
            <a:ext cx="3248478" cy="15908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F1163C6-CE40-4BC8-8D29-7F6F76B27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497" y="4941131"/>
            <a:ext cx="1857634" cy="16575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F8890B1-1F47-475F-BB6D-D4555DAF2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10664" y="3091547"/>
            <a:ext cx="2448267" cy="12193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8267D0-DA7D-4604-AB90-8B378DA1CB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3331" y="936483"/>
            <a:ext cx="2181529" cy="16671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27CFC05-27B7-42F6-8DC1-2AAC5D59A422}"/>
              </a:ext>
            </a:extLst>
          </p:cNvPr>
          <p:cNvSpPr txBox="1"/>
          <p:nvPr/>
        </p:nvSpPr>
        <p:spPr>
          <a:xfrm>
            <a:off x="4403297" y="1384221"/>
            <a:ext cx="5040034" cy="32855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AssemblyAI</a:t>
            </a:r>
            <a:r>
              <a:rPr lang="en-US" sz="1600" b="1" dirty="0"/>
              <a:t> </a:t>
            </a:r>
            <a:r>
              <a:rPr lang="en-US" sz="1600" dirty="0"/>
              <a:t>speech-to-text transcription API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Streamlit</a:t>
            </a:r>
            <a:r>
              <a:rPr lang="en-US" sz="1600" dirty="0"/>
              <a:t> User interfac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Various </a:t>
            </a:r>
            <a:r>
              <a:rPr lang="en-US" sz="1600" b="1" dirty="0"/>
              <a:t>Python Libraries </a:t>
            </a:r>
            <a:r>
              <a:rPr lang="en-US" sz="1600" dirty="0"/>
              <a:t>are used.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Integration with </a:t>
            </a:r>
            <a:r>
              <a:rPr lang="en-US" sz="1600" b="1" dirty="0"/>
              <a:t>Azure file store </a:t>
            </a:r>
            <a:r>
              <a:rPr lang="en-US" sz="1600" dirty="0"/>
              <a:t>and </a:t>
            </a:r>
            <a:r>
              <a:rPr lang="en-US" sz="1600" b="1" dirty="0"/>
              <a:t>MS Team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GitHub – </a:t>
            </a:r>
            <a:r>
              <a:rPr lang="en-US" sz="1600" dirty="0"/>
              <a:t>Code Repository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US" sz="1600" b="1" dirty="0"/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Additional Requirements: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Account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File Stor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Create your free </a:t>
            </a:r>
            <a:r>
              <a:rPr lang="en-US" sz="1600" dirty="0" err="1"/>
              <a:t>AssemblyAI</a:t>
            </a:r>
            <a:r>
              <a:rPr lang="en-US" sz="1600" dirty="0"/>
              <a:t> Account &amp; obtain your API Key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380EED1-31B2-4478-8EEC-F9CE6F7CA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263" y="4444125"/>
            <a:ext cx="3496163" cy="102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282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3FA83-CDF7-4B0B-855E-4D9017827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How it works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54B2D-6E67-4CA9-B81F-AC56BCC426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1E7E39-37CB-448F-AB18-F8F5A55564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7"/>
            <a:ext cx="5106652" cy="5202507"/>
          </a:xfrm>
        </p:spPr>
        <p:txBody>
          <a:bodyPr/>
          <a:lstStyle/>
          <a:p>
            <a:r>
              <a:rPr lang="en-US" b="0" dirty="0"/>
              <a:t>1. After MS Team Meeting, recording of the meeting can be configured to saved on Azure file store.</a:t>
            </a:r>
          </a:p>
          <a:p>
            <a:r>
              <a:rPr lang="en-US" b="0" dirty="0"/>
              <a:t>2. </a:t>
            </a:r>
            <a:r>
              <a:rPr lang="en-US" b="0" dirty="0" err="1"/>
              <a:t>MoMBot</a:t>
            </a:r>
            <a:r>
              <a:rPr lang="en-US" b="0" dirty="0"/>
              <a:t> will fetch this recording from azure shared file with desired secured credentials like storage account key</a:t>
            </a:r>
          </a:p>
          <a:p>
            <a:r>
              <a:rPr lang="en-US" b="0" dirty="0"/>
              <a:t>3. </a:t>
            </a:r>
            <a:r>
              <a:rPr lang="en-US" b="0" dirty="0" err="1"/>
              <a:t>Streamlit</a:t>
            </a:r>
            <a:r>
              <a:rPr lang="en-US" b="0" dirty="0"/>
              <a:t> UI shows recording in categories, chapters, topics, etc. in drop downs</a:t>
            </a:r>
          </a:p>
          <a:p>
            <a:r>
              <a:rPr lang="en-US" b="0" dirty="0"/>
              <a:t>4. </a:t>
            </a:r>
            <a:r>
              <a:rPr lang="en-US" b="0" dirty="0" err="1"/>
              <a:t>MoMBot</a:t>
            </a:r>
            <a:r>
              <a:rPr lang="en-US" b="0" dirty="0"/>
              <a:t> transcribes the recording performs speech-to-text transcription leveraging </a:t>
            </a:r>
            <a:r>
              <a:rPr lang="en-US" b="0" dirty="0" err="1"/>
              <a:t>AssemblyAI</a:t>
            </a:r>
            <a:r>
              <a:rPr lang="en-US" b="0" dirty="0"/>
              <a:t> APIs</a:t>
            </a:r>
          </a:p>
          <a:p>
            <a:r>
              <a:rPr lang="en-IN" b="0" dirty="0"/>
              <a:t>5. Generates </a:t>
            </a:r>
            <a:r>
              <a:rPr lang="en-IN" dirty="0"/>
              <a:t>smart minutes on GUI </a:t>
            </a:r>
            <a:r>
              <a:rPr lang="en-IN" b="0" dirty="0"/>
              <a:t>which includes text summary, as well as it takes us to the time segment where important point was discussed and can replay from that point in the recording.</a:t>
            </a:r>
          </a:p>
          <a:p>
            <a:r>
              <a:rPr lang="en-US" b="0" dirty="0"/>
              <a:t>6. Email pdf doc with minutes to intended participants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E22091F-581C-389E-8C66-EC6161D79B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9" y="114012"/>
            <a:ext cx="6456219" cy="662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59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7BF03-1D8B-491E-841C-52130F7A3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y 2 – Enhancements (as Rome was not built in 2 days </a:t>
            </a:r>
            <a:r>
              <a:rPr lang="en-IN" dirty="0">
                <a:sym typeface="Wingdings" panose="05000000000000000000" pitchFamily="2" charset="2"/>
              </a:rPr>
              <a:t>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EAFA5-6327-4271-A3F9-A046FD0C9D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3DA32C-10A3-40DE-B3E0-69B880831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8"/>
            <a:ext cx="11244216" cy="49610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Integration with Meeting Apps like MS Teams, Skype, Zoom, google mee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Natural Lang Processing to fetch Action Items accur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OC and ETA of a task or point discussed and creating a backlog and can enhance to send reminder for task comple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erformance improvements in case of long meetings using ca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Embedding meeting audio files into the pdf, doc, etc. in order to understand the points with cla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Internationalizations support by providing speech to text from various 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028" name="Picture 4" descr="44,610 Road Map Stock Photos, Pictures &amp; Royalty-Free Images - iStock">
            <a:extLst>
              <a:ext uri="{FF2B5EF4-FFF2-40B4-BE49-F238E27FC236}">
                <a16:creationId xmlns:a16="http://schemas.microsoft.com/office/drawing/2014/main" id="{562361F7-72CC-CDD2-C489-8B8D73070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5590" y="3208337"/>
            <a:ext cx="3026410" cy="302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2904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2C9CD-1B5D-4E32-9185-D2BDEE8E63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A4EE89-1FEA-41E3-B77A-2F726928F0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7" y="2493818"/>
            <a:ext cx="11220465" cy="1995055"/>
          </a:xfrm>
        </p:spPr>
        <p:txBody>
          <a:bodyPr/>
          <a:lstStyle/>
          <a:p>
            <a:pPr algn="ctr"/>
            <a:r>
              <a:rPr lang="en-IN" sz="6000" dirty="0"/>
              <a:t>Thank You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860530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BD2CC94-34AD-4240-BAD2-FCAFA7836B40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AC1C89DF-D225-4481-9C17-0C14AC21F896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FC4FC128-464C-4599-BACD-149C431A559E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79827883-AECB-4C06-838D-8A1624C04B8A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8B478B3-1592-43D6-A5FC-6FC7E244CB30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C1C342C6-D664-4ED3-88E3-42C2283416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3</TotalTime>
  <Words>397</Words>
  <Application>Microsoft Office PowerPoint</Application>
  <PresentationFormat>Widescreen</PresentationFormat>
  <Paragraphs>5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Credit Suisse Type Roman</vt:lpstr>
      <vt:lpstr>Wingdings</vt:lpstr>
      <vt:lpstr>Credit Suisse Headline</vt:lpstr>
      <vt:lpstr>Arial</vt:lpstr>
      <vt:lpstr>Credit Suisse Type Light</vt:lpstr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hink-cell Slide</vt:lpstr>
      <vt:lpstr>Automatic Minutes of Meeting - MoMBot</vt:lpstr>
      <vt:lpstr>PowerPoint Presentation</vt:lpstr>
      <vt:lpstr>Technology Stack used for MoMBot</vt:lpstr>
      <vt:lpstr>How it works?</vt:lpstr>
      <vt:lpstr>Day 2 – Enhancements (as Rome was not built in 2 days 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utes of Meeting Bot</dc:title>
  <dc:creator>Kolte, Surabhi A. (MBOJ 816)</dc:creator>
  <cp:lastModifiedBy>Wadhwani, Vikas H. (MBOJ 816)</cp:lastModifiedBy>
  <cp:revision>32</cp:revision>
  <dcterms:created xsi:type="dcterms:W3CDTF">2022-09-19T08:42:57Z</dcterms:created>
  <dcterms:modified xsi:type="dcterms:W3CDTF">2022-09-20T08:5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3:13:03.3712888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cdd4ec03-ee88-4f3c-9252-298768d1c3b6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Sensitivity">
    <vt:lpwstr>Unrestricted</vt:lpwstr>
  </property>
</Properties>
</file>